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25" r:id="rId2"/>
    <p:sldId id="626" r:id="rId3"/>
    <p:sldId id="628" r:id="rId4"/>
    <p:sldId id="631" r:id="rId5"/>
    <p:sldId id="632" r:id="rId6"/>
    <p:sldId id="615" r:id="rId7"/>
    <p:sldId id="649" r:id="rId8"/>
    <p:sldId id="650" r:id="rId9"/>
    <p:sldId id="651" r:id="rId10"/>
    <p:sldId id="652" r:id="rId11"/>
    <p:sldId id="653" r:id="rId12"/>
    <p:sldId id="654" r:id="rId13"/>
    <p:sldId id="655" r:id="rId14"/>
    <p:sldId id="643" r:id="rId15"/>
    <p:sldId id="644" r:id="rId16"/>
    <p:sldId id="645" r:id="rId17"/>
    <p:sldId id="647" r:id="rId18"/>
    <p:sldId id="646" r:id="rId19"/>
    <p:sldId id="648" r:id="rId20"/>
    <p:sldId id="637" r:id="rId21"/>
    <p:sldId id="642" r:id="rId22"/>
  </p:sldIdLst>
  <p:sldSz cx="12192000" cy="6858000"/>
  <p:notesSz cx="6805613" cy="9944100"/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57" autoAdjust="0"/>
    <p:restoredTop sz="96296" autoAdjust="0"/>
  </p:normalViewPr>
  <p:slideViewPr>
    <p:cSldViewPr snapToGrid="0">
      <p:cViewPr varScale="1">
        <p:scale>
          <a:sx n="88" d="100"/>
          <a:sy n="88" d="100"/>
        </p:scale>
        <p:origin x="96" y="678"/>
      </p:cViewPr>
      <p:guideLst>
        <p:guide orient="horz" pos="890"/>
        <p:guide pos="347"/>
        <p:guide pos="7650"/>
        <p:guide orient="horz" pos="120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вс 31.10.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вс 31.10.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0724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60B212FF-64EE-4B1E-93F4-6D09F2028D59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1930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4455C514-E899-479F-879B-9AF287D8C535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442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44340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вс 31.10.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0026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>
            <a:biLevel thresh="25000"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238855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edu.gov.ru/national-project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9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94509" y="6551098"/>
            <a:ext cx="10216392" cy="292388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итель математики МОБУ СОШ «</a:t>
            </a:r>
            <a:r>
              <a:rPr lang="ru-RU" sz="2000" dirty="0" err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уринский</a:t>
            </a: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«ЦО №1» Мельник А. И.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13720" y="1567301"/>
            <a:ext cx="8749705" cy="2646878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300" b="1" cap="all" dirty="0">
                <a:ln w="3175" cmpd="sng">
                  <a:noFill/>
                </a:ln>
                <a:solidFill>
                  <a:prstClr val="white"/>
                </a:solidFill>
                <a:latin typeface="Century Gothic"/>
              </a:rPr>
              <a:t>Формирование функциональной грамотности школьников </a:t>
            </a:r>
            <a:br>
              <a:rPr lang="ru-RU" sz="4300" b="1" cap="all" dirty="0">
                <a:ln w="3175" cmpd="sng">
                  <a:noFill/>
                </a:ln>
                <a:solidFill>
                  <a:prstClr val="white"/>
                </a:solidFill>
                <a:latin typeface="Century Gothic"/>
              </a:rPr>
            </a:br>
            <a:r>
              <a:rPr lang="ru-RU" sz="4300" b="1" cap="all" dirty="0">
                <a:ln w="3175" cmpd="sng">
                  <a:noFill/>
                </a:ln>
                <a:solidFill>
                  <a:prstClr val="white"/>
                </a:solidFill>
                <a:latin typeface="Century Gothic"/>
              </a:rPr>
              <a:t>на уроках математики</a:t>
            </a:r>
            <a:endParaRPr lang="ru-RU" sz="45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970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CAD912-124B-42BF-84F9-AA29F3E4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4800" b="1" dirty="0">
                <a:solidFill>
                  <a:schemeClr val="accent1">
                    <a:lumMod val="50000"/>
                  </a:schemeClr>
                </a:solidFill>
              </a:rPr>
              <a:t>Задания на развитие функциональной грамотности</a:t>
            </a:r>
            <a:endParaRPr lang="ru-RU" sz="4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0263221-39DA-4F8B-A7F4-83B68416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F5C323-6A47-4752-8E87-27BD5C7D0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98" y="2312988"/>
            <a:ext cx="6062012" cy="404336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278577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A01E0CA-1CC2-4C4D-85A7-9950ED478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982219D-5DF3-4960-B21F-4A9C61189787}"/>
              </a:ext>
            </a:extLst>
          </p:cNvPr>
          <p:cNvSpPr/>
          <p:nvPr/>
        </p:nvSpPr>
        <p:spPr>
          <a:xfrm>
            <a:off x="327171" y="260060"/>
            <a:ext cx="116690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 АНАЛИЗ ГРАФИКОВ, ДИАГРАММ</a:t>
            </a:r>
            <a:br>
              <a:rPr lang="ru-RU" b="1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ru-RU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графике точками отмечена цена тонны меди на момент закрытия биржевых торгов во все рабочие дни с 3 по 18 марта 2018 г. По горизонтали указываются числа месяца, по вертикали — цена тонны меди в евро.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гда было выгодно совершить покупку меди?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) 3 марта;		Б) 13 марта;	В) 5 марта;		г) 4 марта;	д) 18 марта.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C834F3-98E8-429B-9D53-22BF8F1030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759" t="44401" r="53240" b="34623"/>
          <a:stretch/>
        </p:blipFill>
        <p:spPr>
          <a:xfrm>
            <a:off x="2541864" y="2412405"/>
            <a:ext cx="5956184" cy="39039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5EFDFE40-388B-4EF6-B734-E13B659C48BF}"/>
              </a:ext>
            </a:extLst>
          </p:cNvPr>
          <p:cNvSpPr/>
          <p:nvPr/>
        </p:nvSpPr>
        <p:spPr>
          <a:xfrm>
            <a:off x="3360440" y="5910606"/>
            <a:ext cx="4803173" cy="405768"/>
          </a:xfrm>
          <a:prstGeom prst="roundRect">
            <a:avLst/>
          </a:prstGeom>
          <a:noFill/>
          <a:ln w="38100">
            <a:solidFill>
              <a:srgbClr val="D642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4B83517F-9CC0-42FE-83D0-4A085F626DF2}"/>
              </a:ext>
            </a:extLst>
          </p:cNvPr>
          <p:cNvSpPr/>
          <p:nvPr/>
        </p:nvSpPr>
        <p:spPr>
          <a:xfrm>
            <a:off x="2790334" y="2412405"/>
            <a:ext cx="641024" cy="3649030"/>
          </a:xfrm>
          <a:prstGeom prst="roundRect">
            <a:avLst/>
          </a:prstGeom>
          <a:noFill/>
          <a:ln w="38100">
            <a:solidFill>
              <a:srgbClr val="D642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BE98B7C-B9E5-452F-B04F-AF2F58B2E9CB}"/>
              </a:ext>
            </a:extLst>
          </p:cNvPr>
          <p:cNvCxnSpPr>
            <a:cxnSpLocks/>
          </p:cNvCxnSpPr>
          <p:nvPr/>
        </p:nvCxnSpPr>
        <p:spPr>
          <a:xfrm>
            <a:off x="1759439" y="1377884"/>
            <a:ext cx="1564849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42DB5BA8-11F6-4210-81F4-B43B4AFCCFCE}"/>
              </a:ext>
            </a:extLst>
          </p:cNvPr>
          <p:cNvCxnSpPr>
            <a:cxnSpLocks/>
          </p:cNvCxnSpPr>
          <p:nvPr/>
        </p:nvCxnSpPr>
        <p:spPr>
          <a:xfrm>
            <a:off x="6006445" y="1377884"/>
            <a:ext cx="136531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B607321D-B0A2-4800-AAE1-7FFD0C3AA91A}"/>
              </a:ext>
            </a:extLst>
          </p:cNvPr>
          <p:cNvCxnSpPr/>
          <p:nvPr/>
        </p:nvCxnSpPr>
        <p:spPr>
          <a:xfrm>
            <a:off x="2541864" y="1377884"/>
            <a:ext cx="3189633" cy="45327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FB14AC33-C8B1-4808-8231-F694BC89A18D}"/>
              </a:ext>
            </a:extLst>
          </p:cNvPr>
          <p:cNvCxnSpPr>
            <a:endCxn id="8" idx="3"/>
          </p:cNvCxnSpPr>
          <p:nvPr/>
        </p:nvCxnSpPr>
        <p:spPr>
          <a:xfrm flipH="1">
            <a:off x="3431358" y="1377884"/>
            <a:ext cx="3242819" cy="285903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>
            <a:extLst>
              <a:ext uri="{FF2B5EF4-FFF2-40B4-BE49-F238E27FC236}">
                <a16:creationId xmlns:a16="http://schemas.microsoft.com/office/drawing/2014/main" id="{F8EA5A4C-52B1-438B-B62A-364FA84EDA59}"/>
              </a:ext>
            </a:extLst>
          </p:cNvPr>
          <p:cNvSpPr/>
          <p:nvPr/>
        </p:nvSpPr>
        <p:spPr>
          <a:xfrm>
            <a:off x="4122540" y="5324574"/>
            <a:ext cx="329938" cy="31108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C7BEF1EF-2EE5-45A3-8CBD-5133E36B0DB5}"/>
              </a:ext>
            </a:extLst>
          </p:cNvPr>
          <p:cNvCxnSpPr/>
          <p:nvPr/>
        </p:nvCxnSpPr>
        <p:spPr>
          <a:xfrm>
            <a:off x="4963886" y="2198914"/>
            <a:ext cx="113211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237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2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0258A60-52AA-428E-B42E-AD92A9CEB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210B112-DC8E-4947-9A32-0619B4EE6741}"/>
              </a:ext>
            </a:extLst>
          </p:cNvPr>
          <p:cNvSpPr/>
          <p:nvPr/>
        </p:nvSpPr>
        <p:spPr>
          <a:xfrm>
            <a:off x="125835" y="136525"/>
            <a:ext cx="11836866" cy="2464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ru-RU" altLang="ru-RU" sz="2000" b="1" dirty="0">
                <a:solidFill>
                  <a:schemeClr val="accent1">
                    <a:lumMod val="50000"/>
                  </a:schemeClr>
                </a:solidFill>
              </a:rPr>
              <a:t>АНАЛИЗ ДИАГРАММ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диаграмме представлены семь крупнейших по площади территории (в млн км</a:t>
            </a:r>
            <a:r>
              <a:rPr lang="ru-RU" altLang="ru-RU" baseline="30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стран мира. Какое из следующих утверждений неверно?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По площади территории второе место в мире занимает Канада.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Площадь территории Австралии составляет 7,7 млн км</a:t>
            </a:r>
            <a:r>
              <a:rPr lang="ru-RU" altLang="ru-RU" baseline="30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Площадь Китая больше площади Канады.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) Площадь США больше площади Бразилии на 1 млн км</a:t>
            </a:r>
            <a:r>
              <a:rPr lang="ru-RU" altLang="ru-RU" baseline="30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" name="Picture 2" descr="https://oge.sdamgia.ru/get_file?id=5898&amp;png=1">
            <a:extLst>
              <a:ext uri="{FF2B5EF4-FFF2-40B4-BE49-F238E27FC236}">
                <a16:creationId xmlns:a16="http://schemas.microsoft.com/office/drawing/2014/main" id="{84926E84-5C9A-47C7-9DB2-DBAB0D794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794" y="2643858"/>
            <a:ext cx="3874804" cy="3733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0796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84A8974-A8C6-42F8-8B10-3690672AB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335A1B5-D7E5-4A40-A507-BF5D1A3F538B}"/>
              </a:ext>
            </a:extLst>
          </p:cNvPr>
          <p:cNvSpPr/>
          <p:nvPr/>
        </p:nvSpPr>
        <p:spPr>
          <a:xfrm>
            <a:off x="251670" y="209726"/>
            <a:ext cx="11719420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Выбор оптимального варианта</a:t>
            </a:r>
            <a:endParaRPr lang="ru-RU" altLang="ru-RU" sz="2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бушка, живущая в Краснодаре, отправила 1 сентября четыре посылки своим внукам, живущим в разных городах России. В таблице дано контрольное время в сутках, установленное для пересылки посылок наземным транспортом (без учёта дня приёма) между некоторыми городами России.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ая из данных посылок не была доставлена вовремя?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твете укажите номер правильного варианта.</a:t>
            </a:r>
            <a:endParaRPr lang="ru-RU" alt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пункт назначения — Белгород, посылка доставлена 10 сентября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пункт назначения — Астрахань, посылка доставлена 12 сентября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пункт назначения — Барнаул, посылка доставлена 15 сентября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) пункт назначения — Архангельск, посылка доставлена 11 сентября</a:t>
            </a:r>
          </a:p>
          <a:p>
            <a:pPr lvl="0" indent="19050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BB7E9BA-EB79-44A7-A2C2-39BC6E0CFB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456973"/>
              </p:ext>
            </p:extLst>
          </p:nvPr>
        </p:nvGraphicFramePr>
        <p:xfrm>
          <a:off x="4991450" y="3429000"/>
          <a:ext cx="6065238" cy="3236609"/>
        </p:xfrm>
        <a:graphic>
          <a:graphicData uri="http://schemas.openxmlformats.org/drawingml/2006/table">
            <a:tbl>
              <a:tblPr/>
              <a:tblGrid>
                <a:gridCol w="1010873">
                  <a:extLst>
                    <a:ext uri="{9D8B030D-6E8A-4147-A177-3AD203B41FA5}">
                      <a16:colId xmlns:a16="http://schemas.microsoft.com/office/drawing/2014/main" val="3994156628"/>
                    </a:ext>
                  </a:extLst>
                </a:gridCol>
                <a:gridCol w="1010873">
                  <a:extLst>
                    <a:ext uri="{9D8B030D-6E8A-4147-A177-3AD203B41FA5}">
                      <a16:colId xmlns:a16="http://schemas.microsoft.com/office/drawing/2014/main" val="1180364256"/>
                    </a:ext>
                  </a:extLst>
                </a:gridCol>
                <a:gridCol w="1010873">
                  <a:extLst>
                    <a:ext uri="{9D8B030D-6E8A-4147-A177-3AD203B41FA5}">
                      <a16:colId xmlns:a16="http://schemas.microsoft.com/office/drawing/2014/main" val="475221749"/>
                    </a:ext>
                  </a:extLst>
                </a:gridCol>
                <a:gridCol w="1010873">
                  <a:extLst>
                    <a:ext uri="{9D8B030D-6E8A-4147-A177-3AD203B41FA5}">
                      <a16:colId xmlns:a16="http://schemas.microsoft.com/office/drawing/2014/main" val="2885563313"/>
                    </a:ext>
                  </a:extLst>
                </a:gridCol>
                <a:gridCol w="1010873">
                  <a:extLst>
                    <a:ext uri="{9D8B030D-6E8A-4147-A177-3AD203B41FA5}">
                      <a16:colId xmlns:a16="http://schemas.microsoft.com/office/drawing/2014/main" val="212800884"/>
                    </a:ext>
                  </a:extLst>
                </a:gridCol>
                <a:gridCol w="1010873">
                  <a:extLst>
                    <a:ext uri="{9D8B030D-6E8A-4147-A177-3AD203B41FA5}">
                      <a16:colId xmlns:a16="http://schemas.microsoft.com/office/drawing/2014/main" val="2492821774"/>
                    </a:ext>
                  </a:extLst>
                </a:gridCol>
              </a:tblGrid>
              <a:tr h="27705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ункт отправки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ункт назначения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6242415"/>
                  </a:ext>
                </a:extLst>
              </a:tr>
              <a:tr h="6112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хангельск</a:t>
                      </a:r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страхань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наул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лгород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раснодар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940952"/>
                  </a:ext>
                </a:extLst>
              </a:tr>
              <a:tr h="6112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хангельск</a:t>
                      </a:r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2454176"/>
                  </a:ext>
                </a:extLst>
              </a:tr>
              <a:tr h="434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страхань</a:t>
                      </a:r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184372"/>
                  </a:ext>
                </a:extLst>
              </a:tr>
              <a:tr h="434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наул</a:t>
                      </a:r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541363"/>
                  </a:ext>
                </a:extLst>
              </a:tr>
              <a:tr h="434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лгород</a:t>
                      </a:r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ru-RU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8898280"/>
                  </a:ext>
                </a:extLst>
              </a:tr>
              <a:tr h="434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раснодар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0" marR="38100" marT="38100" marB="38100"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630652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B3AE31B-099E-46DB-87B9-95D02D8C5E34}"/>
              </a:ext>
            </a:extLst>
          </p:cNvPr>
          <p:cNvCxnSpPr>
            <a:cxnSpLocks/>
          </p:cNvCxnSpPr>
          <p:nvPr/>
        </p:nvCxnSpPr>
        <p:spPr>
          <a:xfrm>
            <a:off x="2579914" y="870857"/>
            <a:ext cx="1208315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Овал 7">
            <a:extLst>
              <a:ext uri="{FF2B5EF4-FFF2-40B4-BE49-F238E27FC236}">
                <a16:creationId xmlns:a16="http://schemas.microsoft.com/office/drawing/2014/main" id="{DEE0EE4E-E25E-4E2C-BD18-EAB0FDAA71FA}"/>
              </a:ext>
            </a:extLst>
          </p:cNvPr>
          <p:cNvSpPr/>
          <p:nvPr/>
        </p:nvSpPr>
        <p:spPr>
          <a:xfrm>
            <a:off x="5140006" y="3548743"/>
            <a:ext cx="727394" cy="6531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B6BD018-8ACA-4AB6-8A24-FCBCD39B365A}"/>
              </a:ext>
            </a:extLst>
          </p:cNvPr>
          <p:cNvCxnSpPr>
            <a:cxnSpLocks/>
          </p:cNvCxnSpPr>
          <p:nvPr/>
        </p:nvCxnSpPr>
        <p:spPr>
          <a:xfrm>
            <a:off x="5140006" y="6553200"/>
            <a:ext cx="72739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77F819F-5658-4433-93C4-CD2CF8C7B03A}"/>
              </a:ext>
            </a:extLst>
          </p:cNvPr>
          <p:cNvCxnSpPr>
            <a:cxnSpLocks/>
          </p:cNvCxnSpPr>
          <p:nvPr/>
        </p:nvCxnSpPr>
        <p:spPr>
          <a:xfrm>
            <a:off x="2810464" y="2536371"/>
            <a:ext cx="977765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93B8BF-712A-42CB-BF73-1BA60675A29B}"/>
              </a:ext>
            </a:extLst>
          </p:cNvPr>
          <p:cNvCxnSpPr>
            <a:cxnSpLocks/>
          </p:cNvCxnSpPr>
          <p:nvPr/>
        </p:nvCxnSpPr>
        <p:spPr>
          <a:xfrm>
            <a:off x="2870335" y="2797628"/>
            <a:ext cx="110295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F852AD3A-86EF-4C5D-90F2-F9175827BCFB}"/>
              </a:ext>
            </a:extLst>
          </p:cNvPr>
          <p:cNvCxnSpPr>
            <a:cxnSpLocks/>
          </p:cNvCxnSpPr>
          <p:nvPr/>
        </p:nvCxnSpPr>
        <p:spPr>
          <a:xfrm>
            <a:off x="2810464" y="3080657"/>
            <a:ext cx="901565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53675E29-0900-4B61-A715-9237143FE0FC}"/>
              </a:ext>
            </a:extLst>
          </p:cNvPr>
          <p:cNvCxnSpPr>
            <a:cxnSpLocks/>
          </p:cNvCxnSpPr>
          <p:nvPr/>
        </p:nvCxnSpPr>
        <p:spPr>
          <a:xfrm>
            <a:off x="2810464" y="3341914"/>
            <a:ext cx="1315222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вал 18">
            <a:extLst>
              <a:ext uri="{FF2B5EF4-FFF2-40B4-BE49-F238E27FC236}">
                <a16:creationId xmlns:a16="http://schemas.microsoft.com/office/drawing/2014/main" id="{B8A53E23-77B8-40F5-8EE7-D38B62D9B514}"/>
              </a:ext>
            </a:extLst>
          </p:cNvPr>
          <p:cNvSpPr/>
          <p:nvPr/>
        </p:nvSpPr>
        <p:spPr>
          <a:xfrm>
            <a:off x="6324602" y="6267327"/>
            <a:ext cx="391884" cy="3651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199109F4-4F58-4558-81B3-6552E7057010}"/>
              </a:ext>
            </a:extLst>
          </p:cNvPr>
          <p:cNvSpPr/>
          <p:nvPr/>
        </p:nvSpPr>
        <p:spPr>
          <a:xfrm>
            <a:off x="7304314" y="6267326"/>
            <a:ext cx="391884" cy="3651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D265E21F-633B-4C4C-BE8A-68314C6CEFEB}"/>
              </a:ext>
            </a:extLst>
          </p:cNvPr>
          <p:cNvSpPr/>
          <p:nvPr/>
        </p:nvSpPr>
        <p:spPr>
          <a:xfrm>
            <a:off x="8342304" y="6261378"/>
            <a:ext cx="391884" cy="3651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8F38E2A9-D416-4D05-8313-FF5D65B0CBD0}"/>
              </a:ext>
            </a:extLst>
          </p:cNvPr>
          <p:cNvSpPr/>
          <p:nvPr/>
        </p:nvSpPr>
        <p:spPr>
          <a:xfrm>
            <a:off x="9343789" y="6261930"/>
            <a:ext cx="391884" cy="3651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269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9" grpId="0" animBg="1"/>
      <p:bldP spid="19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7A6CDB-D070-4C11-B65C-8FEFF3267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3600" dirty="0">
                <a:solidFill>
                  <a:srgbClr val="0070C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1-05. </a:t>
            </a:r>
            <a:r>
              <a:rPr lang="ru-RU" sz="360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дачи с практическим содержанием </a:t>
            </a:r>
            <a:br>
              <a:rPr lang="ru-RU" sz="360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600" dirty="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Шины» </a:t>
            </a:r>
            <a:endParaRPr lang="ru-RU" sz="3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Объект 5">
            <a:extLst>
              <a:ext uri="{FF2B5EF4-FFF2-40B4-BE49-F238E27FC236}">
                <a16:creationId xmlns:a16="http://schemas.microsoft.com/office/drawing/2014/main" id="{59900709-4913-4C33-8FE5-BB3855A920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29425" y="1082500"/>
            <a:ext cx="7816903" cy="5638975"/>
          </a:xfr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3E7E2D0-1EAF-4472-B782-66AD597F4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3A3ACC7-F8FE-439A-83C4-74E4F8847215}"/>
              </a:ext>
            </a:extLst>
          </p:cNvPr>
          <p:cNvCxnSpPr>
            <a:cxnSpLocks/>
          </p:cNvCxnSpPr>
          <p:nvPr/>
        </p:nvCxnSpPr>
        <p:spPr>
          <a:xfrm>
            <a:off x="756781" y="1101193"/>
            <a:ext cx="105156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278DDD0A-B7F3-40E6-965C-9313C704B6D2}"/>
              </a:ext>
            </a:extLst>
          </p:cNvPr>
          <p:cNvCxnSpPr>
            <a:cxnSpLocks/>
          </p:cNvCxnSpPr>
          <p:nvPr/>
        </p:nvCxnSpPr>
        <p:spPr>
          <a:xfrm>
            <a:off x="4283901" y="2643288"/>
            <a:ext cx="1402915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Овал 11">
            <a:extLst>
              <a:ext uri="{FF2B5EF4-FFF2-40B4-BE49-F238E27FC236}">
                <a16:creationId xmlns:a16="http://schemas.microsoft.com/office/drawing/2014/main" id="{96AC7885-432A-4F9C-91C5-E188C523F681}"/>
              </a:ext>
            </a:extLst>
          </p:cNvPr>
          <p:cNvSpPr/>
          <p:nvPr/>
        </p:nvSpPr>
        <p:spPr>
          <a:xfrm>
            <a:off x="8073025" y="2155423"/>
            <a:ext cx="387937" cy="24828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F9E0B91-28EC-4E0C-934C-F01D4809E6EE}"/>
              </a:ext>
            </a:extLst>
          </p:cNvPr>
          <p:cNvSpPr/>
          <p:nvPr/>
        </p:nvSpPr>
        <p:spPr>
          <a:xfrm>
            <a:off x="8073025" y="6037240"/>
            <a:ext cx="275572" cy="156576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7A7FC143-F1CD-4305-A6C4-699817E88268}"/>
              </a:ext>
            </a:extLst>
          </p:cNvPr>
          <p:cNvCxnSpPr>
            <a:cxnSpLocks/>
          </p:cNvCxnSpPr>
          <p:nvPr/>
        </p:nvCxnSpPr>
        <p:spPr>
          <a:xfrm flipV="1">
            <a:off x="5686816" y="2276289"/>
            <a:ext cx="2386209" cy="254836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BE9E9883-C1DD-426C-8D47-A3DC2FEAD603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5686816" y="2525836"/>
            <a:ext cx="2523995" cy="3511404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532AF078-C9CE-4285-8572-D46FB9A4BECC}"/>
              </a:ext>
            </a:extLst>
          </p:cNvPr>
          <p:cNvCxnSpPr/>
          <p:nvPr/>
        </p:nvCxnSpPr>
        <p:spPr>
          <a:xfrm>
            <a:off x="2198318" y="3429000"/>
            <a:ext cx="1383083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Овал 21">
            <a:extLst>
              <a:ext uri="{FF2B5EF4-FFF2-40B4-BE49-F238E27FC236}">
                <a16:creationId xmlns:a16="http://schemas.microsoft.com/office/drawing/2014/main" id="{391E0ACA-CF9A-4FDB-8487-763F57AF703C}"/>
              </a:ext>
            </a:extLst>
          </p:cNvPr>
          <p:cNvSpPr/>
          <p:nvPr/>
        </p:nvSpPr>
        <p:spPr>
          <a:xfrm>
            <a:off x="8412480" y="2143027"/>
            <a:ext cx="311897" cy="215912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9B9A2EB0-3215-40B6-82DC-285CCFD1C1E8}"/>
              </a:ext>
            </a:extLst>
          </p:cNvPr>
          <p:cNvSpPr/>
          <p:nvPr/>
        </p:nvSpPr>
        <p:spPr>
          <a:xfrm>
            <a:off x="7172196" y="5595462"/>
            <a:ext cx="788956" cy="349158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00E11843-8FA5-4C71-84DF-6895224716DF}"/>
              </a:ext>
            </a:extLst>
          </p:cNvPr>
          <p:cNvCxnSpPr>
            <a:cxnSpLocks/>
            <a:endCxn id="23" idx="0"/>
          </p:cNvCxnSpPr>
          <p:nvPr/>
        </p:nvCxnSpPr>
        <p:spPr>
          <a:xfrm>
            <a:off x="3650294" y="3300335"/>
            <a:ext cx="3916380" cy="2295127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1D212E2D-A4DF-4FC6-BC3B-108436AB74C1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3612901" y="2250983"/>
            <a:ext cx="4799579" cy="1056554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E557A58D-C098-48B5-8E78-B33715F54C5C}"/>
              </a:ext>
            </a:extLst>
          </p:cNvPr>
          <p:cNvCxnSpPr/>
          <p:nvPr/>
        </p:nvCxnSpPr>
        <p:spPr>
          <a:xfrm>
            <a:off x="2198318" y="4161193"/>
            <a:ext cx="2085583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Овал 35">
            <a:extLst>
              <a:ext uri="{FF2B5EF4-FFF2-40B4-BE49-F238E27FC236}">
                <a16:creationId xmlns:a16="http://schemas.microsoft.com/office/drawing/2014/main" id="{EE42E7F4-6E8C-4B28-B77F-D3E3DC247326}"/>
              </a:ext>
            </a:extLst>
          </p:cNvPr>
          <p:cNvSpPr/>
          <p:nvPr/>
        </p:nvSpPr>
        <p:spPr>
          <a:xfrm>
            <a:off x="8655156" y="2139853"/>
            <a:ext cx="163167" cy="244258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AC4CD9A4-BA11-4994-9218-B920A5514518}"/>
              </a:ext>
            </a:extLst>
          </p:cNvPr>
          <p:cNvCxnSpPr>
            <a:cxnSpLocks/>
            <a:endCxn id="36" idx="2"/>
          </p:cNvCxnSpPr>
          <p:nvPr/>
        </p:nvCxnSpPr>
        <p:spPr>
          <a:xfrm flipV="1">
            <a:off x="4283901" y="2261982"/>
            <a:ext cx="4371255" cy="1802714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05B1512D-A250-43AF-BBD6-A148FF2ABCA1}"/>
              </a:ext>
            </a:extLst>
          </p:cNvPr>
          <p:cNvCxnSpPr>
            <a:cxnSpLocks/>
          </p:cNvCxnSpPr>
          <p:nvPr/>
        </p:nvCxnSpPr>
        <p:spPr>
          <a:xfrm>
            <a:off x="2198318" y="5944620"/>
            <a:ext cx="3682652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Овал 40">
            <a:extLst>
              <a:ext uri="{FF2B5EF4-FFF2-40B4-BE49-F238E27FC236}">
                <a16:creationId xmlns:a16="http://schemas.microsoft.com/office/drawing/2014/main" id="{CBFD4FC6-D56F-44BC-A52B-C1FE88410FED}"/>
              </a:ext>
            </a:extLst>
          </p:cNvPr>
          <p:cNvSpPr/>
          <p:nvPr/>
        </p:nvSpPr>
        <p:spPr>
          <a:xfrm>
            <a:off x="8724378" y="2219190"/>
            <a:ext cx="263046" cy="215912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AE487A34-2D5A-4CF7-B304-93DA409F54E0}"/>
              </a:ext>
            </a:extLst>
          </p:cNvPr>
          <p:cNvCxnSpPr>
            <a:cxnSpLocks/>
            <a:endCxn id="41" idx="3"/>
          </p:cNvCxnSpPr>
          <p:nvPr/>
        </p:nvCxnSpPr>
        <p:spPr>
          <a:xfrm flipV="1">
            <a:off x="5880970" y="2403482"/>
            <a:ext cx="2881930" cy="3435966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383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500"/>
                            </p:stCondLst>
                            <p:childTnLst>
                              <p:par>
                                <p:cTn id="1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2" grpId="1" animBg="1"/>
      <p:bldP spid="13" grpId="0" animBg="1"/>
      <p:bldP spid="13" grpId="1" animBg="1"/>
      <p:bldP spid="22" grpId="0" animBg="1"/>
      <p:bldP spid="22" grpId="1" animBg="1"/>
      <p:bldP spid="23" grpId="0" animBg="1"/>
      <p:bldP spid="23" grpId="1" animBg="1"/>
      <p:bldP spid="36" grpId="0" animBg="1"/>
      <p:bldP spid="36" grpId="1" animBg="1"/>
      <p:bldP spid="4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8233F33-2E61-4168-9592-C3DBD0452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D59AF9C-D569-4963-8B5F-935F156B4C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225" y="126182"/>
            <a:ext cx="9717548" cy="527373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F298A28-63C1-4C69-853D-5D9E401904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592" y="5399921"/>
            <a:ext cx="9540814" cy="747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E83E3C7-7306-49F1-9BF5-B549E82F77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6111" y="6273816"/>
            <a:ext cx="9439777" cy="447659"/>
          </a:xfrm>
          <a:prstGeom prst="rect">
            <a:avLst/>
          </a:prstGeom>
          <a:ln w="3810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CCE1BB41-5016-419C-80AE-A4FDC315797F}"/>
              </a:ext>
            </a:extLst>
          </p:cNvPr>
          <p:cNvSpPr/>
          <p:nvPr/>
        </p:nvSpPr>
        <p:spPr>
          <a:xfrm>
            <a:off x="6157593" y="3154182"/>
            <a:ext cx="2131407" cy="2182647"/>
          </a:xfrm>
          <a:prstGeom prst="ellipse">
            <a:avLst/>
          </a:prstGeom>
          <a:noFill/>
          <a:ln w="412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6198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84C5763-40DD-4995-A1DC-7FF4505AB7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917"/>
          <a:stretch/>
        </p:blipFill>
        <p:spPr>
          <a:xfrm>
            <a:off x="1663674" y="3000588"/>
            <a:ext cx="9010172" cy="37204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3ED62E6-23F8-4DBE-B43E-62AF2A2274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6092"/>
          <a:stretch/>
        </p:blipFill>
        <p:spPr>
          <a:xfrm>
            <a:off x="1593169" y="87407"/>
            <a:ext cx="9010172" cy="2912771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5FA69F6-8054-46DC-B5B3-92A44582A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BFA5742-92C4-4F23-8488-C2523BB124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9074" y="6307230"/>
            <a:ext cx="1686127" cy="463363"/>
          </a:xfrm>
          <a:prstGeom prst="rect">
            <a:avLst/>
          </a:prstGeom>
          <a:ln w="38100">
            <a:solidFill>
              <a:schemeClr val="accent1">
                <a:shade val="50000"/>
              </a:schemeClr>
            </a:solidFill>
          </a:ln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22157681-DB80-490F-90CC-866C3FEC98CD}"/>
              </a:ext>
            </a:extLst>
          </p:cNvPr>
          <p:cNvSpPr/>
          <p:nvPr/>
        </p:nvSpPr>
        <p:spPr>
          <a:xfrm>
            <a:off x="10220137" y="1100254"/>
            <a:ext cx="1287921" cy="1196898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EF7D135-9CDF-4F50-A56E-08C886F3C76F}"/>
              </a:ext>
            </a:extLst>
          </p:cNvPr>
          <p:cNvSpPr/>
          <p:nvPr/>
        </p:nvSpPr>
        <p:spPr>
          <a:xfrm>
            <a:off x="10549097" y="1421781"/>
            <a:ext cx="629999" cy="55384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36945E48-D933-405E-8D2B-37B2C28025B2}"/>
              </a:ext>
            </a:extLst>
          </p:cNvPr>
          <p:cNvCxnSpPr>
            <a:stCxn id="12" idx="2"/>
            <a:endCxn id="12" idx="6"/>
          </p:cNvCxnSpPr>
          <p:nvPr/>
        </p:nvCxnSpPr>
        <p:spPr>
          <a:xfrm>
            <a:off x="10549097" y="1698703"/>
            <a:ext cx="62999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5781198F-157D-4748-BDF3-886DA379BB2A}"/>
              </a:ext>
            </a:extLst>
          </p:cNvPr>
          <p:cNvCxnSpPr>
            <a:stCxn id="11" idx="2"/>
            <a:endCxn id="12" idx="2"/>
          </p:cNvCxnSpPr>
          <p:nvPr/>
        </p:nvCxnSpPr>
        <p:spPr>
          <a:xfrm>
            <a:off x="10220137" y="1698703"/>
            <a:ext cx="32896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C73DF4A0-BD5B-4C33-87A0-A425A09929D9}"/>
              </a:ext>
            </a:extLst>
          </p:cNvPr>
          <p:cNvCxnSpPr>
            <a:stCxn id="12" idx="6"/>
            <a:endCxn id="11" idx="6"/>
          </p:cNvCxnSpPr>
          <p:nvPr/>
        </p:nvCxnSpPr>
        <p:spPr>
          <a:xfrm>
            <a:off x="11179096" y="1698703"/>
            <a:ext cx="32896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8C8DB16-1ECC-4F53-B354-1FF82D74D2F5}"/>
              </a:ext>
            </a:extLst>
          </p:cNvPr>
          <p:cNvSpPr txBox="1"/>
          <p:nvPr/>
        </p:nvSpPr>
        <p:spPr>
          <a:xfrm>
            <a:off x="10220135" y="1421780"/>
            <a:ext cx="38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</a:t>
            </a:r>
            <a:endParaRPr lang="ru-RU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262CBEB-2B4F-4411-A8A4-1F754E966BF0}"/>
              </a:ext>
            </a:extLst>
          </p:cNvPr>
          <p:cNvSpPr txBox="1"/>
          <p:nvPr/>
        </p:nvSpPr>
        <p:spPr>
          <a:xfrm>
            <a:off x="10714527" y="1618521"/>
            <a:ext cx="38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8005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30FE319-84F0-4422-ABA3-B35DA943B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3B894C-9C6B-44A9-B9A5-A0B2C65DD4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3935"/>
          <a:stretch/>
        </p:blipFill>
        <p:spPr>
          <a:xfrm>
            <a:off x="904673" y="3429000"/>
            <a:ext cx="10382653" cy="185726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DFC85F3-F929-4CFC-AF1A-4DE286E312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3942" y="5471196"/>
            <a:ext cx="2404361" cy="700218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923FC3F-1C2D-4EB6-8985-8D155A5EF4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1812"/>
          <a:stretch/>
        </p:blipFill>
        <p:spPr>
          <a:xfrm>
            <a:off x="971147" y="136524"/>
            <a:ext cx="10382653" cy="299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12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5185BAB-ED2F-46DD-879B-CCAF128F8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A0E5CCF-146B-413B-81B3-32F7E119CB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7608"/>
          <a:stretch/>
        </p:blipFill>
        <p:spPr>
          <a:xfrm>
            <a:off x="1428451" y="3061547"/>
            <a:ext cx="9335097" cy="321899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3FDEF24-F7FC-4D89-9AA3-E22DA0B823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6101" y="6061555"/>
            <a:ext cx="2035929" cy="589590"/>
          </a:xfrm>
          <a:prstGeom prst="rect">
            <a:avLst/>
          </a:prstGeom>
          <a:ln w="38100">
            <a:solidFill>
              <a:schemeClr val="accent1">
                <a:shade val="50000"/>
              </a:schemeClr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C81744A-E096-41A3-8889-FA64BD5372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715"/>
          <a:stretch/>
        </p:blipFill>
        <p:spPr>
          <a:xfrm>
            <a:off x="1428451" y="136525"/>
            <a:ext cx="9335097" cy="284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39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035E1D-6AA2-42C0-8B65-740CAFE1B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9462B0A-4181-44F2-A743-264040E808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4658"/>
          <a:stretch/>
        </p:blipFill>
        <p:spPr>
          <a:xfrm>
            <a:off x="1387627" y="2181013"/>
            <a:ext cx="9416745" cy="385458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BD007B7-F6F8-4861-A142-B6523CAD18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6711" y="6017443"/>
            <a:ext cx="1970977" cy="521469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54843C3-BA70-4796-B2F4-0A89B3530E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6261"/>
          <a:stretch/>
        </p:blipFill>
        <p:spPr>
          <a:xfrm>
            <a:off x="1387627" y="136525"/>
            <a:ext cx="9416745" cy="1990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442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54967" y="408729"/>
            <a:ext cx="93898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Й ПРОЕКТ  «ОБРАЗОВАНИЕ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82389" y="5757534"/>
            <a:ext cx="46217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и реализации: 01.01.2019 - 31.12.2024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82389" y="2036745"/>
            <a:ext cx="645838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й проект «Образование»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– это инициатива, направленная на достижение двух ключевых целей*. </a:t>
            </a: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еспечение 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. </a:t>
            </a:r>
          </a:p>
          <a:p>
            <a:endParaRPr lang="en-US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96407" y="6596922"/>
            <a:ext cx="156324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hlinkClick r:id="rId7"/>
              </a:rPr>
              <a:t>*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hlinkClick r:id="rId7"/>
              </a:rPr>
              <a:t>https://edu.gov.ru/national-project/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pic>
        <p:nvPicPr>
          <p:cNvPr id="63546" name="Picture 58" descr="base-val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232" y="1324864"/>
            <a:ext cx="2792599" cy="164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548" name="Picture 60" descr="base-valu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774" y="3107805"/>
            <a:ext cx="2694160" cy="1589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550" name="Picture 62" descr="base-valu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456" y="4841901"/>
            <a:ext cx="2686840" cy="15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43677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9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12633" y="223054"/>
            <a:ext cx="10502068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в контексте национального проекта «Образование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512633" y="1530001"/>
            <a:ext cx="10474681" cy="9458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endParaRPr lang="ru-RU" dirty="0"/>
          </a:p>
          <a:p>
            <a:pPr marL="0"/>
            <a:r>
              <a:rPr lang="ru-RU" dirty="0"/>
              <a:t>Формируя функциональную грамотность обучающихся, мы решаем задачи стратегического развития Российской Федерации:</a:t>
            </a:r>
          </a:p>
          <a:p>
            <a:pPr marL="0"/>
            <a:endParaRPr lang="ru-RU" dirty="0"/>
          </a:p>
        </p:txBody>
      </p:sp>
      <p:sp>
        <p:nvSpPr>
          <p:cNvPr id="57" name="TextBox 56"/>
          <p:cNvSpPr txBox="1"/>
          <p:nvPr/>
        </p:nvSpPr>
        <p:spPr>
          <a:xfrm>
            <a:off x="572052" y="2643029"/>
            <a:ext cx="53563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силение позиций Российской Федерации в глобальной конкуренции  путем развития человеческого потенциала как основного фактора экономического развития;</a:t>
            </a:r>
          </a:p>
          <a:p>
            <a:pPr algn="just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ческое первенство на мировой арене, усиление роли инноваций в социально-экономическом развитии.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10627" y="6039901"/>
            <a:ext cx="118395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ункциональная грамотность – основа жизненной и профессиональной успешности выпускников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!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35903" y="2464319"/>
            <a:ext cx="5051411" cy="3408356"/>
            <a:chOff x="5939303" y="983978"/>
            <a:chExt cx="6184815" cy="4116026"/>
          </a:xfrm>
        </p:grpSpPr>
        <p:pic>
          <p:nvPicPr>
            <p:cNvPr id="6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3164" y="983978"/>
              <a:ext cx="6170954" cy="4116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15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/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35002094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8925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3828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96176" y="365162"/>
            <a:ext cx="115267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диная система оценки качества образования</a:t>
            </a:r>
          </a:p>
        </p:txBody>
      </p:sp>
      <p:sp>
        <p:nvSpPr>
          <p:cNvPr id="90" name="TextBox 41">
            <a:extLst>
              <a:ext uri="{FF2B5EF4-FFF2-40B4-BE49-F238E27FC236}">
                <a16:creationId xmlns:a16="http://schemas.microsoft.com/office/drawing/2014/main" id="{6A11E227-FD05-4E16-8900-13031C87BF42}"/>
              </a:ext>
            </a:extLst>
          </p:cNvPr>
          <p:cNvSpPr txBox="1"/>
          <p:nvPr/>
        </p:nvSpPr>
        <p:spPr>
          <a:xfrm>
            <a:off x="8294430" y="5722484"/>
            <a:ext cx="291309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исследова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57842" y="3196059"/>
            <a:ext cx="4136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е исследования </a:t>
            </a:r>
          </a:p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чества образ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53825" y="3123579"/>
            <a:ext cx="19796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ая </a:t>
            </a:r>
          </a:p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тоговая аттест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241486" y="5495887"/>
            <a:ext cx="20919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российские </a:t>
            </a:r>
          </a:p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рабо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234218" y="1282291"/>
            <a:ext cx="38507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российская оценка по модели PIS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5299" y="6622611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МИНПРОСВЕЩЕНИЯ N 219, РОСОБРНАДЗОРА приказ N 590, от 06.05.2019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270253" y="20304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3525044" y="1272949"/>
            <a:ext cx="880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ОЕ!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3281123" y="1599044"/>
            <a:ext cx="5523490" cy="4537666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>
                <a:extLst>
                  <a:ext uri="{FF2B5EF4-FFF2-40B4-BE49-F238E27FC236}">
                    <a16:creationId xmlns:a16="http://schemas.microsoft.com/office/drawing/2014/main" id="{7E4E9A42-580C-41D5-8D94-84683A11A8C9}"/>
                  </a:ext>
                </a:extLst>
              </p:cNvPr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1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ИА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ПР 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ИКО</a:t>
              </a: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И</a:t>
              </a:r>
            </a:p>
          </p:txBody>
        </p:sp>
      </p:grpSp>
      <p:sp>
        <p:nvSpPr>
          <p:cNvPr id="36" name="Номер слайда 8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>
                <a:solidFill>
                  <a:schemeClr val="tx1">
                    <a:tint val="75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51764919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497323" y="470893"/>
            <a:ext cx="981378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измерительных материалов 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4564654"/>
              </p:ext>
            </p:extLst>
          </p:nvPr>
        </p:nvGraphicFramePr>
        <p:xfrm>
          <a:off x="1595320" y="140004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3191288" y="2146575"/>
            <a:ext cx="27433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</a:p>
          <a:p>
            <a:pPr lvl="0" algn="ct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проблем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861604" y="2713521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54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897349" y="1770009"/>
            <a:ext cx="3110608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1 г. </a:t>
            </a:r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771894" y="4388947"/>
            <a:ext cx="2778752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4 г.</a:t>
            </a:r>
          </a:p>
        </p:txBody>
      </p:sp>
      <p:sp>
        <p:nvSpPr>
          <p:cNvPr id="49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7998249" y="3939779"/>
            <a:ext cx="3335544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21 </a:t>
            </a:r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</a:t>
            </a:r>
            <a:endPara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40720" y="404220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9473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4805220" y="2126610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44" name="TextBox 43"/>
          <p:cNvSpPr txBox="1"/>
          <p:nvPr/>
        </p:nvSpPr>
        <p:spPr>
          <a:xfrm>
            <a:off x="457684" y="253431"/>
            <a:ext cx="1110021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цептуальная рамка оценки функциональной грамотности в исследовании  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5827817" y="3600004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5" name="Прямая со стрелкой 4"/>
          <p:cNvCxnSpPr/>
          <p:nvPr/>
        </p:nvCxnSpPr>
        <p:spPr>
          <a:xfrm flipH="1" flipV="1">
            <a:off x="3119576" y="2729537"/>
            <a:ext cx="1160970" cy="142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 flipV="1">
            <a:off x="2958947" y="3553301"/>
            <a:ext cx="1321599" cy="585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3235308" y="4164372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8194040" y="2695555"/>
            <a:ext cx="1660137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делы математики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868401" y="3387612"/>
            <a:ext cx="2130457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ли чтения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934161" y="5211912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ье, ресурсы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ая среда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7406262" y="1990709"/>
            <a:ext cx="1432134" cy="536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V="1">
            <a:off x="7406262" y="2370726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endCxn id="66" idx="1"/>
          </p:cNvCxnSpPr>
          <p:nvPr/>
        </p:nvCxnSpPr>
        <p:spPr>
          <a:xfrm>
            <a:off x="7371221" y="2522051"/>
            <a:ext cx="822819" cy="40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7" idx="6"/>
            <a:endCxn id="67" idx="1"/>
          </p:cNvCxnSpPr>
          <p:nvPr/>
        </p:nvCxnSpPr>
        <p:spPr>
          <a:xfrm flipV="1">
            <a:off x="8984707" y="3690935"/>
            <a:ext cx="883694" cy="1378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57" idx="6"/>
            <a:endCxn id="69" idx="1"/>
          </p:cNvCxnSpPr>
          <p:nvPr/>
        </p:nvCxnSpPr>
        <p:spPr>
          <a:xfrm>
            <a:off x="8984707" y="5069199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stCxn id="57" idx="6"/>
          </p:cNvCxnSpPr>
          <p:nvPr/>
        </p:nvCxnSpPr>
        <p:spPr>
          <a:xfrm flipV="1">
            <a:off x="8984707" y="4716688"/>
            <a:ext cx="883694" cy="3525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803216" y="4246071"/>
            <a:ext cx="2965710" cy="135343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авать научные объясн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нять естественно-научные методы исслед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 данные,  делать выводы</a:t>
            </a:r>
          </a:p>
          <a:p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113883" y="2603157"/>
            <a:ext cx="252543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ельная 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дель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949874" y="4733990"/>
            <a:ext cx="2090637" cy="70788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нтексты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ли ситуации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046129" y="1380496"/>
            <a:ext cx="2612901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ать с информацией:</a:t>
            </a:r>
          </a:p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ходить и извлек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смысливать и оценив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9954231" y="2011914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ые предметы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ология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42884" y="2836458"/>
            <a:ext cx="2612901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9908438" y="4082877"/>
            <a:ext cx="2127295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Мир индивидуума, социума,</a:t>
            </a:r>
          </a:p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8233338" y="1537144"/>
            <a:ext cx="1660137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ипы текста</a:t>
            </a:r>
          </a:p>
        </p:txBody>
      </p:sp>
      <p:sp>
        <p:nvSpPr>
          <p:cNvPr id="47" name="Овал 46"/>
          <p:cNvSpPr/>
          <p:nvPr/>
        </p:nvSpPr>
        <p:spPr>
          <a:xfrm>
            <a:off x="3931206" y="3650370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61" name="Прямоугольник 60"/>
          <p:cNvSpPr/>
          <p:nvPr/>
        </p:nvSpPr>
        <p:spPr>
          <a:xfrm>
            <a:off x="3979324" y="4779868"/>
            <a:ext cx="27373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ная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дель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604438" y="4212850"/>
            <a:ext cx="1671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ЛОК 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НИЙ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59109" y="6136062"/>
            <a:ext cx="281826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40935" y="6170055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 грамотность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59109" y="6406912"/>
            <a:ext cx="281826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9110" y="5870444"/>
            <a:ext cx="281826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24672" y="5886822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640934" y="6406911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tx2"/>
                </a:solidFill>
              </a:rPr>
              <a:pPr/>
              <a:t>5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791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489537" y="340218"/>
            <a:ext cx="109386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уем функциональную грамотность</a:t>
            </a:r>
          </a:p>
        </p:txBody>
      </p:sp>
      <p:sp>
        <p:nvSpPr>
          <p:cNvPr id="105" name="Подзаголовок 2"/>
          <p:cNvSpPr txBox="1">
            <a:spLocks/>
          </p:cNvSpPr>
          <p:nvPr/>
        </p:nvSpPr>
        <p:spPr>
          <a:xfrm>
            <a:off x="483215" y="2951248"/>
            <a:ext cx="6089316" cy="260071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учебных ситуаций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ние в общени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ли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сотрудничеств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задания на работу в парах и малых группах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исковая активнос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- задания поискового характера, учебные исследования, проекты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очная самостоятельнос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ов, задания на само-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заимооценк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: приобретение опыта </a:t>
            </a: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ейсы, ролевые игры, диспуты, требующие разрешения проблем, принятия решений, позитивного поведения</a:t>
            </a: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483215" y="1667221"/>
            <a:ext cx="5934677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000" dirty="0">
                <a:solidFill>
                  <a:schemeClr val="bg1"/>
                </a:solidFill>
              </a:rPr>
              <a:t>Эффективные педагогические практики: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66562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1667221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6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4449925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4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59391" y="3251647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092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9685A1-1BE5-4FE3-A40D-2BDF6B33B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cap="all" dirty="0">
                <a:ln w="3175" cmpd="sng">
                  <a:noFill/>
                </a:ln>
                <a:solidFill>
                  <a:srgbClr val="052F61"/>
                </a:solidFill>
                <a:latin typeface="Century Gothic"/>
                <a:ea typeface="+mn-ea"/>
                <a:cs typeface="+mn-cs"/>
              </a:rPr>
              <a:t>Под </a:t>
            </a:r>
            <a:r>
              <a:rPr lang="ru-RU" sz="2400" b="1" cap="all" dirty="0">
                <a:ln w="3175" cmpd="sng">
                  <a:noFill/>
                </a:ln>
                <a:solidFill>
                  <a:srgbClr val="052F61"/>
                </a:solidFill>
                <a:latin typeface="Century Gothic"/>
                <a:ea typeface="+mn-ea"/>
                <a:cs typeface="+mn-cs"/>
              </a:rPr>
              <a:t>математической функциональной грамотностью </a:t>
            </a:r>
            <a:r>
              <a:rPr lang="ru-RU" sz="2400" cap="all" dirty="0">
                <a:ln w="3175" cmpd="sng">
                  <a:noFill/>
                </a:ln>
                <a:solidFill>
                  <a:srgbClr val="052F61"/>
                </a:solidFill>
                <a:latin typeface="Century Gothic"/>
                <a:ea typeface="+mn-ea"/>
                <a:cs typeface="+mn-cs"/>
              </a:rPr>
              <a:t>следует подразумевать способность личности использовать приобретенные математические знания для решения задач в различных сферах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5CC36F9-8CE8-453C-99EF-2A31A02B1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id="{23EEE1A5-7B79-4A32-A169-02DAF82C71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7574" y="2043646"/>
            <a:ext cx="5976851" cy="391529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975399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1D7B799-724A-474A-AE0A-10EA750C2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5B68C92-887C-452F-B351-64E0ECB72701}"/>
              </a:ext>
            </a:extLst>
          </p:cNvPr>
          <p:cNvSpPr/>
          <p:nvPr/>
        </p:nvSpPr>
        <p:spPr>
          <a:xfrm>
            <a:off x="318782" y="136525"/>
            <a:ext cx="11551640" cy="7017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accent1"/>
                </a:solidFill>
              </a:rPr>
              <a:t> </a:t>
            </a: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</a:rPr>
              <a:t>Учащиеся, овладевшие математической грамотностью, способны: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распознавать проблемы, которые возникают в окружающей действительности и могут быть решены средствами математики;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формулировать эти проблемы на языке математики;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решать проблемы, используя математические факты и методы;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анализировать использованные методы решения;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интерпретировать полученные результаты с учетом поставленной проблемы;</a:t>
            </a:r>
          </a:p>
          <a:p>
            <a:pPr>
              <a:buFont typeface="Wingdings" pitchFamily="2" charset="2"/>
              <a:buChar char="q"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формулировать и записывать результаты решения.</a:t>
            </a:r>
          </a:p>
          <a:p>
            <a:pPr>
              <a:buFont typeface="Wingdings" pitchFamily="2" charset="2"/>
              <a:buChar char="q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4752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285B6FD-78FC-4148-9282-7572935E9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A211B0C-26E0-422C-B0CD-3A3766CEEE9A}"/>
              </a:ext>
            </a:extLst>
          </p:cNvPr>
          <p:cNvSpPr/>
          <p:nvPr/>
        </p:nvSpPr>
        <p:spPr>
          <a:xfrm>
            <a:off x="335560" y="335560"/>
            <a:ext cx="11669086" cy="6167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</a:pPr>
            <a:r>
              <a:rPr lang="ru-RU" sz="3200" b="1" dirty="0">
                <a:solidFill>
                  <a:schemeClr val="accent1"/>
                </a:solidFill>
              </a:rPr>
              <a:t>Формы работы над задачей</a:t>
            </a:r>
            <a:br>
              <a:rPr lang="ru-RU" sz="3200" b="1" dirty="0">
                <a:solidFill>
                  <a:schemeClr val="accent1"/>
                </a:solidFill>
              </a:rPr>
            </a:br>
            <a:b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1. Работа над решённой задачей.</a:t>
            </a: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2. Решение задач разными способами. </a:t>
            </a:r>
          </a:p>
          <a:p>
            <a:pPr lvl="1" defTabSz="457200">
              <a:lnSpc>
                <a:spcPct val="8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3. Представление ситуации, описанной в задаче и её моделирование:</a:t>
            </a: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а) с помощью отрезков; </a:t>
            </a:r>
          </a:p>
          <a:p>
            <a:pPr lvl="1" defTabSz="457200">
              <a:lnSpc>
                <a:spcPct val="8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б) с помощью чертежа;</a:t>
            </a:r>
          </a:p>
          <a:p>
            <a:pPr lvl="1" defTabSz="457200">
              <a:lnSpc>
                <a:spcPct val="8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в) с помощью таблицы.</a:t>
            </a:r>
          </a:p>
          <a:p>
            <a:pPr>
              <a:lnSpc>
                <a:spcPct val="8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4. Разбивка текста задачи на значимые части. </a:t>
            </a: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5. Решение задач с недостающими или лишними данными.</a:t>
            </a:r>
            <a:br>
              <a:rPr lang="ru-RU" sz="3200" dirty="0">
                <a:solidFill>
                  <a:schemeClr val="accent1"/>
                </a:solidFill>
              </a:rPr>
            </a:b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002532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64</TotalTime>
  <Words>873</Words>
  <Application>Microsoft Office PowerPoint</Application>
  <PresentationFormat>Широкоэкранный</PresentationFormat>
  <Paragraphs>215</Paragraphs>
  <Slides>21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Open Sans</vt:lpstr>
      <vt:lpstr>Open Sans Light</vt:lpstr>
      <vt:lpstr>times new roman</vt:lpstr>
      <vt:lpstr>times new roman</vt:lpstr>
      <vt:lpstr>Wingdings</vt:lpstr>
      <vt:lpstr>Тема Office</vt:lpstr>
      <vt:lpstr>Слайд think-cell</vt:lpstr>
      <vt:lpstr>Учитель математики МОБУ СОШ «Муринский «ЦО №1» Мельник А. И.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д математической функциональной грамотностью следует подразумевать способность личности использовать приобретенные математические знания для решения задач в различных сферах</vt:lpstr>
      <vt:lpstr>Презентация PowerPoint</vt:lpstr>
      <vt:lpstr>Презентация PowerPoint</vt:lpstr>
      <vt:lpstr>Задания на развитие функциональной грамотности</vt:lpstr>
      <vt:lpstr>Презентация PowerPoint</vt:lpstr>
      <vt:lpstr>Презентация PowerPoint</vt:lpstr>
      <vt:lpstr>Презентация PowerPoint</vt:lpstr>
      <vt:lpstr>01-05. Задачи с практическим содержанием  «Шины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Дмитрий Мельник</cp:lastModifiedBy>
  <cp:revision>829</cp:revision>
  <cp:lastPrinted>2019-08-02T09:06:22Z</cp:lastPrinted>
  <dcterms:created xsi:type="dcterms:W3CDTF">2018-07-24T05:59:49Z</dcterms:created>
  <dcterms:modified xsi:type="dcterms:W3CDTF">2021-10-31T09:51:13Z</dcterms:modified>
</cp:coreProperties>
</file>